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0"/>
  </p:notesMasterIdLst>
  <p:sldIdLst>
    <p:sldId id="304" r:id="rId2"/>
    <p:sldId id="318" r:id="rId3"/>
    <p:sldId id="319" r:id="rId4"/>
    <p:sldId id="320" r:id="rId5"/>
    <p:sldId id="321" r:id="rId6"/>
    <p:sldId id="322" r:id="rId7"/>
    <p:sldId id="323" r:id="rId8"/>
    <p:sldId id="324" r:id="rId9"/>
  </p:sldIdLst>
  <p:sldSz cx="12192000" cy="685800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66"/>
    <a:srgbClr val="EAEFF7"/>
    <a:srgbClr val="CCCCFF"/>
    <a:srgbClr val="FFCCFF"/>
    <a:srgbClr val="FF0066"/>
    <a:srgbClr val="FE6124"/>
    <a:srgbClr val="D2DEEF"/>
    <a:srgbClr val="E9EBF5"/>
    <a:srgbClr val="CFD5EA"/>
    <a:srgbClr val="FF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87" autoAdjust="0"/>
    <p:restoredTop sz="86417" autoAdjust="0"/>
  </p:normalViewPr>
  <p:slideViewPr>
    <p:cSldViewPr snapToGrid="0">
      <p:cViewPr varScale="1">
        <p:scale>
          <a:sx n="57" d="100"/>
          <a:sy n="57" d="100"/>
        </p:scale>
        <p:origin x="268" y="5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401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78B8FAE-C6B3-4742-A771-B5F718FBD1FC}" type="datetimeFigureOut">
              <a:rPr lang="en-GB" smtClean="0"/>
              <a:t>27/08/2020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42A677-D473-48FC-8E84-2C42DA16300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510832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42A677-D473-48FC-8E84-2C42DA163009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180451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42A677-D473-48FC-8E84-2C42DA163009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2126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42A677-D473-48FC-8E84-2C42DA163009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90109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42A677-D473-48FC-8E84-2C42DA163009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13680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42A677-D473-48FC-8E84-2C42DA163009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47148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42A677-D473-48FC-8E84-2C42DA163009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983621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42A677-D473-48FC-8E84-2C42DA163009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058465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A42A677-D473-48FC-8E84-2C42DA163009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96503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831D57-082C-450E-A9FF-3F8505BADC4F}" type="datetimeFigureOut">
              <a:rPr lang="en-GB" smtClean="0"/>
              <a:t>27/08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2D32A-3F34-4A32-AED2-F1DD1B982B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057631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831D57-082C-450E-A9FF-3F8505BADC4F}" type="datetimeFigureOut">
              <a:rPr lang="en-GB" smtClean="0"/>
              <a:t>27/08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2D32A-3F34-4A32-AED2-F1DD1B982B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9047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831D57-082C-450E-A9FF-3F8505BADC4F}" type="datetimeFigureOut">
              <a:rPr lang="en-GB" smtClean="0"/>
              <a:t>27/08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2D32A-3F34-4A32-AED2-F1DD1B982B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92010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831D57-082C-450E-A9FF-3F8505BADC4F}" type="datetimeFigureOut">
              <a:rPr lang="en-GB" smtClean="0"/>
              <a:t>27/08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2D32A-3F34-4A32-AED2-F1DD1B982B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96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831D57-082C-450E-A9FF-3F8505BADC4F}" type="datetimeFigureOut">
              <a:rPr lang="en-GB" smtClean="0"/>
              <a:t>27/08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2D32A-3F34-4A32-AED2-F1DD1B982B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2197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831D57-082C-450E-A9FF-3F8505BADC4F}" type="datetimeFigureOut">
              <a:rPr lang="en-GB" smtClean="0"/>
              <a:t>27/08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2D32A-3F34-4A32-AED2-F1DD1B982B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009556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831D57-082C-450E-A9FF-3F8505BADC4F}" type="datetimeFigureOut">
              <a:rPr lang="en-GB" smtClean="0"/>
              <a:t>27/08/2020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2D32A-3F34-4A32-AED2-F1DD1B982B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44709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831D57-082C-450E-A9FF-3F8505BADC4F}" type="datetimeFigureOut">
              <a:rPr lang="en-GB" smtClean="0"/>
              <a:t>27/08/2020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2D32A-3F34-4A32-AED2-F1DD1B982B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85269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831D57-082C-450E-A9FF-3F8505BADC4F}" type="datetimeFigureOut">
              <a:rPr lang="en-GB" smtClean="0"/>
              <a:t>27/08/2020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2D32A-3F34-4A32-AED2-F1DD1B982B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6322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831D57-082C-450E-A9FF-3F8505BADC4F}" type="datetimeFigureOut">
              <a:rPr lang="en-GB" smtClean="0"/>
              <a:t>27/08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2D32A-3F34-4A32-AED2-F1DD1B982B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16421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831D57-082C-450E-A9FF-3F8505BADC4F}" type="datetimeFigureOut">
              <a:rPr lang="en-GB" smtClean="0"/>
              <a:t>27/08/2020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72D32A-3F34-4A32-AED2-F1DD1B982B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15415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831D57-082C-450E-A9FF-3F8505BADC4F}" type="datetimeFigureOut">
              <a:rPr lang="en-GB" smtClean="0"/>
              <a:t>27/08/2020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72D32A-3F34-4A32-AED2-F1DD1B982B9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9269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sky, outdoor, grass, track&#10;&#10;Description automatically generated">
            <a:extLst>
              <a:ext uri="{FF2B5EF4-FFF2-40B4-BE49-F238E27FC236}">
                <a16:creationId xmlns:a16="http://schemas.microsoft.com/office/drawing/2014/main" id="{6043848E-CFC5-45D9-831B-925FBDB80A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02145" y="1794617"/>
            <a:ext cx="7587139" cy="5063591"/>
          </a:xfrm>
          <a:prstGeom prst="rect">
            <a:avLst/>
          </a:prstGeom>
        </p:spPr>
      </p:pic>
      <p:sp>
        <p:nvSpPr>
          <p:cNvPr id="9" name="Freeform 6">
            <a:extLst>
              <a:ext uri="{FF2B5EF4-FFF2-40B4-BE49-F238E27FC236}">
                <a16:creationId xmlns:a16="http://schemas.microsoft.com/office/drawing/2014/main" id="{FDB110E9-056D-4D1C-893A-CEB70D962C3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2717" y="1796847"/>
            <a:ext cx="8608720" cy="5077297"/>
          </a:xfrm>
          <a:custGeom>
            <a:avLst/>
            <a:gdLst>
              <a:gd name="connsiteX0" fmla="*/ 6634975 w 6634975"/>
              <a:gd name="connsiteY0" fmla="*/ 0 h 4951141"/>
              <a:gd name="connsiteX1" fmla="*/ 0 w 6634975"/>
              <a:gd name="connsiteY1" fmla="*/ 0 h 4951141"/>
              <a:gd name="connsiteX2" fmla="*/ 0 w 6634975"/>
              <a:gd name="connsiteY2" fmla="*/ 4951141 h 4951141"/>
              <a:gd name="connsiteX3" fmla="*/ 4025590 w 6634975"/>
              <a:gd name="connsiteY3" fmla="*/ 4951141 h 4951141"/>
              <a:gd name="connsiteX4" fmla="*/ 6634975 w 6634975"/>
              <a:gd name="connsiteY4" fmla="*/ 0 h 4951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34975" h="4951141">
                <a:moveTo>
                  <a:pt x="6634975" y="0"/>
                </a:moveTo>
                <a:lnTo>
                  <a:pt x="0" y="0"/>
                </a:lnTo>
                <a:lnTo>
                  <a:pt x="0" y="4951141"/>
                </a:lnTo>
                <a:lnTo>
                  <a:pt x="4025590" y="4951141"/>
                </a:lnTo>
                <a:lnTo>
                  <a:pt x="6634975" y="0"/>
                </a:lnTo>
                <a:close/>
              </a:path>
            </a:pathLst>
          </a:custGeom>
          <a:solidFill>
            <a:srgbClr val="660066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77">
              <a:defRPr/>
            </a:pPr>
            <a:endParaRPr lang="en-NZ" kern="0" dirty="0">
              <a:solidFill>
                <a:srgbClr val="660066"/>
              </a:solidFill>
              <a:latin typeface="Arial"/>
            </a:endParaRPr>
          </a:p>
        </p:txBody>
      </p:sp>
      <p:sp>
        <p:nvSpPr>
          <p:cNvPr id="4" name="Title 6"/>
          <p:cNvSpPr txBox="1">
            <a:spLocks/>
          </p:cNvSpPr>
          <p:nvPr/>
        </p:nvSpPr>
        <p:spPr>
          <a:xfrm>
            <a:off x="1882923" y="354108"/>
            <a:ext cx="6637494" cy="612560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en-US" sz="3200" dirty="0">
              <a:solidFill>
                <a:srgbClr val="FE6124"/>
              </a:solidFill>
              <a:latin typeface="Franklin Gothic Demi" panose="020B07030201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67D0DF3-D3F8-4B7C-93E7-E1E97EB36E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222" y="142656"/>
            <a:ext cx="1403776" cy="146401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0D2956BA-3E92-4A95-AF59-AF06629EDE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0837" y="148539"/>
            <a:ext cx="1632086" cy="145813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575CB32-5838-4793-B38C-076A11CDBAE2}"/>
              </a:ext>
            </a:extLst>
          </p:cNvPr>
          <p:cNvSpPr txBox="1"/>
          <p:nvPr/>
        </p:nvSpPr>
        <p:spPr>
          <a:xfrm>
            <a:off x="250837" y="2130251"/>
            <a:ext cx="5426482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600" b="1" dirty="0">
                <a:solidFill>
                  <a:schemeClr val="bg1"/>
                </a:solidFill>
                <a:latin typeface="Bahnschrift SemiBold" panose="020B0502040204020203" pitchFamily="34" charset="0"/>
                <a:cs typeface="Arial" panose="020B0604020202020204" pitchFamily="34" charset="0"/>
              </a:rPr>
              <a:t>QUADRANT PHASE 2</a:t>
            </a:r>
          </a:p>
          <a:p>
            <a:r>
              <a:rPr lang="en-GB" sz="3600" b="1" dirty="0">
                <a:solidFill>
                  <a:schemeClr val="bg1"/>
                </a:solidFill>
                <a:latin typeface="Bahnschrift SemiBold" panose="020B0502040204020203" pitchFamily="34" charset="0"/>
                <a:cs typeface="Arial" panose="020B0604020202020204" pitchFamily="34" charset="0"/>
              </a:rPr>
              <a:t>BIRCHWOOD PARK</a:t>
            </a:r>
          </a:p>
          <a:p>
            <a:endParaRPr lang="en-GB" sz="3600" dirty="0">
              <a:solidFill>
                <a:schemeClr val="bg1"/>
              </a:solidFill>
              <a:latin typeface="Franklin Gothic Demi" panose="020B0703020102020204" pitchFamily="34" charset="0"/>
            </a:endParaRPr>
          </a:p>
          <a:p>
            <a:endParaRPr lang="en-GB" sz="3600" dirty="0">
              <a:solidFill>
                <a:schemeClr val="bg1"/>
              </a:solidFill>
              <a:latin typeface="Franklin Gothic Demi" panose="020B0703020102020204" pitchFamily="34" charset="0"/>
            </a:endParaRPr>
          </a:p>
          <a:p>
            <a:endParaRPr lang="en-GB" sz="2400" dirty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endParaRPr lang="en-GB" sz="2400" dirty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endParaRPr lang="en-GB" sz="2400" dirty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endParaRPr lang="en-GB" sz="2400" dirty="0">
              <a:solidFill>
                <a:schemeClr val="bg1"/>
              </a:solidFill>
              <a:latin typeface="Arial Nova Light" panose="020B0304020202020204" pitchFamily="34" charset="0"/>
            </a:endParaRPr>
          </a:p>
          <a:p>
            <a:r>
              <a:rPr lang="en-GB" sz="2400" dirty="0">
                <a:solidFill>
                  <a:schemeClr val="bg1"/>
                </a:solidFill>
                <a:latin typeface="Bahnschrift Light" panose="020B0502040204020203" pitchFamily="34" charset="0"/>
              </a:rPr>
              <a:t>Performance &amp; Investment Committee </a:t>
            </a:r>
          </a:p>
          <a:p>
            <a:r>
              <a:rPr lang="en-GB" sz="2400" dirty="0">
                <a:solidFill>
                  <a:schemeClr val="bg1"/>
                </a:solidFill>
                <a:latin typeface="Bahnschrift Light" panose="020B0502040204020203" pitchFamily="34" charset="0"/>
              </a:rPr>
              <a:t>20 March 2019</a:t>
            </a:r>
          </a:p>
        </p:txBody>
      </p:sp>
    </p:spTree>
    <p:extLst>
      <p:ext uri="{BB962C8B-B14F-4D97-AF65-F5344CB8AC3E}">
        <p14:creationId xmlns:p14="http://schemas.microsoft.com/office/powerpoint/2010/main" val="29598529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/>
          <p:cNvSpPr txBox="1">
            <a:spLocks/>
          </p:cNvSpPr>
          <p:nvPr/>
        </p:nvSpPr>
        <p:spPr>
          <a:xfrm>
            <a:off x="1882923" y="354108"/>
            <a:ext cx="6637494" cy="612560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en-US" sz="3200" dirty="0">
              <a:solidFill>
                <a:srgbClr val="FE6124"/>
              </a:solidFill>
              <a:latin typeface="Franklin Gothic Demi" panose="020B07030201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67D0DF3-D3F8-4B7C-93E7-E1E97EB36E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222" y="142656"/>
            <a:ext cx="1403776" cy="146401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9434312-CB52-4DC4-9E7F-A5B3F0B5EF27}"/>
              </a:ext>
            </a:extLst>
          </p:cNvPr>
          <p:cNvSpPr txBox="1"/>
          <p:nvPr/>
        </p:nvSpPr>
        <p:spPr>
          <a:xfrm>
            <a:off x="356134" y="1889383"/>
            <a:ext cx="10433785" cy="4493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Phase 1 - 3x units, let within 6 months PC</a:t>
            </a:r>
          </a:p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5 industrial units </a:t>
            </a:r>
          </a:p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15,773 sq m (169,785 sq ft) new industrial floorspace</a:t>
            </a:r>
            <a:endParaRPr lang="en-GB" sz="2800" dirty="0">
              <a:solidFill>
                <a:srgbClr val="660066"/>
              </a:solidFill>
              <a:latin typeface="Bebas Neue" panose="020B0606020202050201" pitchFamily="34" charset="0"/>
            </a:endParaRPr>
          </a:p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Maximum of £3.6m EZ investment</a:t>
            </a:r>
          </a:p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£446k per annum retained business rates</a:t>
            </a:r>
          </a:p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£9.1m over lifetime of EZ</a:t>
            </a:r>
          </a:p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8.3 years payback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5ACF66C-D52F-4B17-A133-18B8AF0E5DDC}"/>
              </a:ext>
            </a:extLst>
          </p:cNvPr>
          <p:cNvSpPr txBox="1"/>
          <p:nvPr/>
        </p:nvSpPr>
        <p:spPr>
          <a:xfrm>
            <a:off x="356134" y="354108"/>
            <a:ext cx="84261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rgbClr val="660066"/>
                </a:solidFill>
                <a:latin typeface="Bahnschrift SemiBold" panose="020B0502040204020203" pitchFamily="34" charset="0"/>
                <a:cs typeface="Arial" panose="020B0604020202020204" pitchFamily="34" charset="0"/>
              </a:rPr>
              <a:t>QUADRANT PHASE 2</a:t>
            </a:r>
          </a:p>
        </p:txBody>
      </p:sp>
    </p:spTree>
    <p:extLst>
      <p:ext uri="{BB962C8B-B14F-4D97-AF65-F5344CB8AC3E}">
        <p14:creationId xmlns:p14="http://schemas.microsoft.com/office/powerpoint/2010/main" val="4360363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/>
          <p:cNvSpPr txBox="1">
            <a:spLocks/>
          </p:cNvSpPr>
          <p:nvPr/>
        </p:nvSpPr>
        <p:spPr>
          <a:xfrm>
            <a:off x="1882923" y="354108"/>
            <a:ext cx="6637494" cy="612560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en-US" sz="3200" dirty="0">
              <a:solidFill>
                <a:srgbClr val="FE6124"/>
              </a:solidFill>
              <a:latin typeface="Franklin Gothic Demi" panose="020B07030201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67D0DF3-D3F8-4B7C-93E7-E1E97EB36E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222" y="142656"/>
            <a:ext cx="1403776" cy="146401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9434312-CB52-4DC4-9E7F-A5B3F0B5EF27}"/>
              </a:ext>
            </a:extLst>
          </p:cNvPr>
          <p:cNvSpPr txBox="1"/>
          <p:nvPr/>
        </p:nvSpPr>
        <p:spPr>
          <a:xfrm>
            <a:off x="356134" y="1959722"/>
            <a:ext cx="10433785" cy="1846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£650k - Access Road</a:t>
            </a:r>
          </a:p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Up to maximum of £1m for electricity infrastructure</a:t>
            </a:r>
          </a:p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Maximum of 3 years void and interest cover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5ACF66C-D52F-4B17-A133-18B8AF0E5DDC}"/>
              </a:ext>
            </a:extLst>
          </p:cNvPr>
          <p:cNvSpPr txBox="1"/>
          <p:nvPr/>
        </p:nvSpPr>
        <p:spPr>
          <a:xfrm>
            <a:off x="356134" y="354108"/>
            <a:ext cx="84261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rgbClr val="660066"/>
                </a:solidFill>
                <a:latin typeface="Bahnschrift SemiBold" panose="020B0502040204020203" pitchFamily="34" charset="0"/>
                <a:cs typeface="Arial" panose="020B0604020202020204" pitchFamily="34" charset="0"/>
              </a:rPr>
              <a:t>INVESTMENT PROPOSAL</a:t>
            </a:r>
          </a:p>
        </p:txBody>
      </p:sp>
    </p:spTree>
    <p:extLst>
      <p:ext uri="{BB962C8B-B14F-4D97-AF65-F5344CB8AC3E}">
        <p14:creationId xmlns:p14="http://schemas.microsoft.com/office/powerpoint/2010/main" val="16004510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/>
          <p:cNvSpPr txBox="1">
            <a:spLocks/>
          </p:cNvSpPr>
          <p:nvPr/>
        </p:nvSpPr>
        <p:spPr>
          <a:xfrm>
            <a:off x="1882923" y="354108"/>
            <a:ext cx="6637494" cy="612560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en-US" sz="3200" dirty="0">
              <a:solidFill>
                <a:srgbClr val="FE6124"/>
              </a:solidFill>
              <a:latin typeface="Franklin Gothic Demi" panose="020B07030201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67D0DF3-D3F8-4B7C-93E7-E1E97EB36E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222" y="142656"/>
            <a:ext cx="1403776" cy="146401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5ACF66C-D52F-4B17-A133-18B8AF0E5DDC}"/>
              </a:ext>
            </a:extLst>
          </p:cNvPr>
          <p:cNvSpPr txBox="1"/>
          <p:nvPr/>
        </p:nvSpPr>
        <p:spPr>
          <a:xfrm>
            <a:off x="356134" y="354108"/>
            <a:ext cx="84261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latin typeface="Bahnschrift SemiBold" panose="020B0502040204020203" pitchFamily="34" charset="0"/>
                <a:cs typeface="Arial" panose="020B0604020202020204" pitchFamily="34" charset="0"/>
              </a:rPr>
              <a:t>THE INVESTMENT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0D6ACBB-F968-4117-BCDB-2BF0328E4F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4360362"/>
              </p:ext>
            </p:extLst>
          </p:nvPr>
        </p:nvGraphicFramePr>
        <p:xfrm>
          <a:off x="505199" y="2653574"/>
          <a:ext cx="11269799" cy="3048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09307">
                  <a:extLst>
                    <a:ext uri="{9D8B030D-6E8A-4147-A177-3AD203B41FA5}">
                      <a16:colId xmlns:a16="http://schemas.microsoft.com/office/drawing/2014/main" val="3353499708"/>
                    </a:ext>
                  </a:extLst>
                </a:gridCol>
                <a:gridCol w="2190123">
                  <a:extLst>
                    <a:ext uri="{9D8B030D-6E8A-4147-A177-3AD203B41FA5}">
                      <a16:colId xmlns:a16="http://schemas.microsoft.com/office/drawing/2014/main" val="3259419259"/>
                    </a:ext>
                  </a:extLst>
                </a:gridCol>
                <a:gridCol w="2190123">
                  <a:extLst>
                    <a:ext uri="{9D8B030D-6E8A-4147-A177-3AD203B41FA5}">
                      <a16:colId xmlns:a16="http://schemas.microsoft.com/office/drawing/2014/main" val="15142365"/>
                    </a:ext>
                  </a:extLst>
                </a:gridCol>
                <a:gridCol w="2190123">
                  <a:extLst>
                    <a:ext uri="{9D8B030D-6E8A-4147-A177-3AD203B41FA5}">
                      <a16:colId xmlns:a16="http://schemas.microsoft.com/office/drawing/2014/main" val="1280280119"/>
                    </a:ext>
                  </a:extLst>
                </a:gridCol>
                <a:gridCol w="2190123">
                  <a:extLst>
                    <a:ext uri="{9D8B030D-6E8A-4147-A177-3AD203B41FA5}">
                      <a16:colId xmlns:a16="http://schemas.microsoft.com/office/drawing/2014/main" val="117964077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Bahnschrift SemiBold" panose="020B0502040204020203" pitchFamily="34" charset="0"/>
                        </a:rPr>
                        <a:t>El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Bahnschrift SemiBold" panose="020B0502040204020203" pitchFamily="34" charset="0"/>
                        </a:rPr>
                        <a:t>Best Case Scenario (£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Bahnschrift SemiBold" panose="020B0502040204020203" pitchFamily="34" charset="0"/>
                        </a:rPr>
                        <a:t>Assumed Business Case Minus Electricity Infrastructure (£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Bahnschrift SemiBold" panose="020B0502040204020203" pitchFamily="34" charset="0"/>
                        </a:rPr>
                        <a:t>Assumed Business Case (£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Bahnschrift SemiBold" panose="020B0502040204020203" pitchFamily="34" charset="0"/>
                        </a:rPr>
                        <a:t>Worst Case Scenario (£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85809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Access Roa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650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650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650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65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41949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Void Cov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281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281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843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7874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Interest Cov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375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375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1,125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26443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Electrical Infrastruct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1,000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1,000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21982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 dirty="0">
                          <a:solidFill>
                            <a:srgbClr val="660066"/>
                          </a:solidFill>
                          <a:latin typeface="Bahnschrift SemiBold" panose="020B0502040204020203" pitchFamily="34" charset="0"/>
                        </a:rPr>
                        <a:t>Tota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b="1" dirty="0">
                          <a:solidFill>
                            <a:srgbClr val="660066"/>
                          </a:solidFill>
                          <a:latin typeface="Bahnschrift SemiBold" panose="020B0502040204020203" pitchFamily="34" charset="0"/>
                        </a:rPr>
                        <a:t>650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rgbClr val="660066"/>
                          </a:solidFill>
                          <a:latin typeface="Bahnschrift SemiBold" panose="020B0502040204020203" pitchFamily="34" charset="0"/>
                        </a:rPr>
                        <a:t>1,306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b="1" dirty="0">
                          <a:solidFill>
                            <a:srgbClr val="660066"/>
                          </a:solidFill>
                          <a:latin typeface="Bahnschrift SemiBold" panose="020B0502040204020203" pitchFamily="34" charset="0"/>
                        </a:rPr>
                        <a:t>2,306,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b="1" dirty="0">
                          <a:solidFill>
                            <a:srgbClr val="660066"/>
                          </a:solidFill>
                          <a:latin typeface="Bahnschrift SemiBold" panose="020B0502040204020203" pitchFamily="34" charset="0"/>
                        </a:rPr>
                        <a:t>3,618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13279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1" dirty="0">
                          <a:solidFill>
                            <a:srgbClr val="660066"/>
                          </a:solidFill>
                          <a:latin typeface="Bahnschrift SemiBold" panose="020B0502040204020203" pitchFamily="34" charset="0"/>
                        </a:rPr>
                        <a:t>Payback Period (year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b="1" dirty="0">
                          <a:solidFill>
                            <a:srgbClr val="660066"/>
                          </a:solidFill>
                          <a:latin typeface="Bahnschrift SemiBold" panose="020B0502040204020203" pitchFamily="34" charset="0"/>
                        </a:rPr>
                        <a:t>1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b="1" dirty="0">
                          <a:solidFill>
                            <a:srgbClr val="660066"/>
                          </a:solidFill>
                          <a:latin typeface="Bahnschrift SemiBold" panose="020B0502040204020203" pitchFamily="34" charset="0"/>
                        </a:rPr>
                        <a:t>2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b="1" dirty="0">
                          <a:solidFill>
                            <a:srgbClr val="660066"/>
                          </a:solidFill>
                          <a:latin typeface="Bahnschrift SemiBold" panose="020B0502040204020203" pitchFamily="34" charset="0"/>
                        </a:rPr>
                        <a:t>5.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b="1" dirty="0">
                          <a:solidFill>
                            <a:srgbClr val="660066"/>
                          </a:solidFill>
                          <a:latin typeface="Bahnschrift SemiBold" panose="020B0502040204020203" pitchFamily="34" charset="0"/>
                        </a:rPr>
                        <a:t>8.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37172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39877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/>
          <p:cNvSpPr txBox="1">
            <a:spLocks/>
          </p:cNvSpPr>
          <p:nvPr/>
        </p:nvSpPr>
        <p:spPr>
          <a:xfrm>
            <a:off x="1882923" y="354108"/>
            <a:ext cx="6637494" cy="612560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en-US" sz="3200" dirty="0">
              <a:solidFill>
                <a:srgbClr val="FE6124"/>
              </a:solidFill>
              <a:latin typeface="Franklin Gothic Demi" panose="020B07030201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67D0DF3-D3F8-4B7C-93E7-E1E97EB36E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222" y="142656"/>
            <a:ext cx="1403776" cy="1464015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5ACF66C-D52F-4B17-A133-18B8AF0E5DDC}"/>
              </a:ext>
            </a:extLst>
          </p:cNvPr>
          <p:cNvSpPr txBox="1"/>
          <p:nvPr/>
        </p:nvSpPr>
        <p:spPr>
          <a:xfrm>
            <a:off x="356134" y="354108"/>
            <a:ext cx="84261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latin typeface="Bahnschrift SemiBold" panose="020B0502040204020203" pitchFamily="34" charset="0"/>
                <a:cs typeface="Arial" panose="020B0604020202020204" pitchFamily="34" charset="0"/>
              </a:rPr>
              <a:t>BENEFIT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0D6ACBB-F968-4117-BCDB-2BF0328E4F2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5490143"/>
              </p:ext>
            </p:extLst>
          </p:nvPr>
        </p:nvGraphicFramePr>
        <p:xfrm>
          <a:off x="585585" y="1980334"/>
          <a:ext cx="11269799" cy="4079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17620">
                  <a:extLst>
                    <a:ext uri="{9D8B030D-6E8A-4147-A177-3AD203B41FA5}">
                      <a16:colId xmlns:a16="http://schemas.microsoft.com/office/drawing/2014/main" val="3353499708"/>
                    </a:ext>
                  </a:extLst>
                </a:gridCol>
                <a:gridCol w="5252179">
                  <a:extLst>
                    <a:ext uri="{9D8B030D-6E8A-4147-A177-3AD203B41FA5}">
                      <a16:colId xmlns:a16="http://schemas.microsoft.com/office/drawing/2014/main" val="3259419259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sz="1600" dirty="0">
                          <a:latin typeface="Bahnschrift SemiBold" panose="020B0502040204020203" pitchFamily="34" charset="0"/>
                        </a:rPr>
                        <a:t>Benef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Bahnschrift SemiBold" panose="020B0502040204020203" pitchFamily="34" charset="0"/>
                        </a:rPr>
                        <a:t>Quantu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85809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New commercial floorspace (sq f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169,78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41949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Brownfield land reclaimed (ha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5.6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778742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Number of new busines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26443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Number of jobs (gros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48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21982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Number of jobs (ne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b="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2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13279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Number of construction job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b="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371721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Gross Value Added (£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b="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7.0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263527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Annual Retained Business Rates (£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b="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436,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66139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Total Retained Business Rates (£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b="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9.1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89825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sz="1600" b="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Public/Private Sector Leverage (£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GB" sz="1600" b="0" dirty="0">
                          <a:solidFill>
                            <a:srgbClr val="660066"/>
                          </a:solidFill>
                          <a:latin typeface="Bahnschrift Light" panose="020B0502040204020203" pitchFamily="34" charset="0"/>
                        </a:rPr>
                        <a:t>13.9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31791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97566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/>
          <p:cNvSpPr txBox="1">
            <a:spLocks/>
          </p:cNvSpPr>
          <p:nvPr/>
        </p:nvSpPr>
        <p:spPr>
          <a:xfrm>
            <a:off x="1882923" y="354108"/>
            <a:ext cx="6637494" cy="612560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en-US" sz="3200" dirty="0">
              <a:solidFill>
                <a:srgbClr val="FE6124"/>
              </a:solidFill>
              <a:latin typeface="Franklin Gothic Demi" panose="020B07030201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67D0DF3-D3F8-4B7C-93E7-E1E97EB36E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222" y="142656"/>
            <a:ext cx="1403776" cy="146401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9434312-CB52-4DC4-9E7F-A5B3F0B5EF27}"/>
              </a:ext>
            </a:extLst>
          </p:cNvPr>
          <p:cNvSpPr txBox="1"/>
          <p:nvPr/>
        </p:nvSpPr>
        <p:spPr>
          <a:xfrm>
            <a:off x="356134" y="1899431"/>
            <a:ext cx="10433785" cy="4493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Uncertainty about level of investment required</a:t>
            </a:r>
          </a:p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Business rate income</a:t>
            </a:r>
          </a:p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Delivery</a:t>
            </a:r>
          </a:p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Occupation</a:t>
            </a:r>
          </a:p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Rate mitigation</a:t>
            </a:r>
          </a:p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State Aid</a:t>
            </a:r>
          </a:p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Public procurement regulation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5ACF66C-D52F-4B17-A133-18B8AF0E5DDC}"/>
              </a:ext>
            </a:extLst>
          </p:cNvPr>
          <p:cNvSpPr txBox="1"/>
          <p:nvPr/>
        </p:nvSpPr>
        <p:spPr>
          <a:xfrm>
            <a:off x="356134" y="354108"/>
            <a:ext cx="84261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rgbClr val="660066"/>
                </a:solidFill>
                <a:latin typeface="Bahnschrift SemiBold" panose="020B0502040204020203" pitchFamily="34" charset="0"/>
                <a:cs typeface="Arial" panose="020B0604020202020204" pitchFamily="34" charset="0"/>
              </a:rPr>
              <a:t>KEY RISKS</a:t>
            </a:r>
          </a:p>
        </p:txBody>
      </p:sp>
    </p:spTree>
    <p:extLst>
      <p:ext uri="{BB962C8B-B14F-4D97-AF65-F5344CB8AC3E}">
        <p14:creationId xmlns:p14="http://schemas.microsoft.com/office/powerpoint/2010/main" val="199021042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/>
          <p:cNvSpPr txBox="1">
            <a:spLocks/>
          </p:cNvSpPr>
          <p:nvPr/>
        </p:nvSpPr>
        <p:spPr>
          <a:xfrm>
            <a:off x="1882923" y="354108"/>
            <a:ext cx="6637494" cy="612560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en-US" sz="3200" dirty="0">
              <a:solidFill>
                <a:srgbClr val="FE6124"/>
              </a:solidFill>
              <a:latin typeface="Franklin Gothic Demi" panose="020B07030201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67D0DF3-D3F8-4B7C-93E7-E1E97EB36E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222" y="142656"/>
            <a:ext cx="1403776" cy="146401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9434312-CB52-4DC4-9E7F-A5B3F0B5EF27}"/>
              </a:ext>
            </a:extLst>
          </p:cNvPr>
          <p:cNvSpPr txBox="1"/>
          <p:nvPr/>
        </p:nvSpPr>
        <p:spPr>
          <a:xfrm>
            <a:off x="356134" y="1849190"/>
            <a:ext cx="10433785" cy="38318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Approved use 10 years</a:t>
            </a:r>
          </a:p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No landlord rate mitigation</a:t>
            </a:r>
          </a:p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Longstop start date – 12 months</a:t>
            </a:r>
          </a:p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Practical completion within 3 years</a:t>
            </a:r>
          </a:p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Funder sign off on scheme costs</a:t>
            </a:r>
          </a:p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Overage agreement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5ACF66C-D52F-4B17-A133-18B8AF0E5DDC}"/>
              </a:ext>
            </a:extLst>
          </p:cNvPr>
          <p:cNvSpPr txBox="1"/>
          <p:nvPr/>
        </p:nvSpPr>
        <p:spPr>
          <a:xfrm>
            <a:off x="356134" y="354108"/>
            <a:ext cx="84261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rgbClr val="660066"/>
                </a:solidFill>
                <a:latin typeface="Bahnschrift SemiBold" panose="020B0502040204020203" pitchFamily="34" charset="0"/>
                <a:cs typeface="Arial" panose="020B0604020202020204" pitchFamily="34" charset="0"/>
              </a:rPr>
              <a:t>KEY COMMERCIAL TERMS</a:t>
            </a:r>
          </a:p>
        </p:txBody>
      </p:sp>
    </p:spTree>
    <p:extLst>
      <p:ext uri="{BB962C8B-B14F-4D97-AF65-F5344CB8AC3E}">
        <p14:creationId xmlns:p14="http://schemas.microsoft.com/office/powerpoint/2010/main" val="8976662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6"/>
          <p:cNvSpPr txBox="1">
            <a:spLocks/>
          </p:cNvSpPr>
          <p:nvPr/>
        </p:nvSpPr>
        <p:spPr>
          <a:xfrm>
            <a:off x="1882923" y="354108"/>
            <a:ext cx="6637494" cy="612560"/>
          </a:xfrm>
          <a:prstGeom prst="rect">
            <a:avLst/>
          </a:prstGeom>
        </p:spPr>
        <p:txBody>
          <a:bodyPr lIns="0" tIns="0" rIns="0" bIns="0" anchor="t"/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>
                <a:solidFill>
                  <a:schemeClr val="accent6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en-US" sz="3200" dirty="0">
              <a:solidFill>
                <a:srgbClr val="FE6124"/>
              </a:solidFill>
              <a:latin typeface="Franklin Gothic Demi" panose="020B07030201020202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67D0DF3-D3F8-4B7C-93E7-E1E97EB36E3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1222" y="142656"/>
            <a:ext cx="1403776" cy="146401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9434312-CB52-4DC4-9E7F-A5B3F0B5EF27}"/>
              </a:ext>
            </a:extLst>
          </p:cNvPr>
          <p:cNvSpPr txBox="1"/>
          <p:nvPr/>
        </p:nvSpPr>
        <p:spPr>
          <a:xfrm>
            <a:off x="356134" y="1849190"/>
            <a:ext cx="10433785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£30m Local authority borrowing facility</a:t>
            </a:r>
          </a:p>
          <a:p>
            <a:pPr marL="457200" indent="-45720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GB" sz="2800" dirty="0">
                <a:solidFill>
                  <a:srgbClr val="660066"/>
                </a:solidFill>
                <a:latin typeface="Bahnschrift Light" panose="020B0502040204020203" pitchFamily="34" charset="0"/>
              </a:rPr>
              <a:t>Legal agreement will not signed until borrowing facility is in plac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5ACF66C-D52F-4B17-A133-18B8AF0E5DDC}"/>
              </a:ext>
            </a:extLst>
          </p:cNvPr>
          <p:cNvSpPr txBox="1"/>
          <p:nvPr/>
        </p:nvSpPr>
        <p:spPr>
          <a:xfrm>
            <a:off x="356134" y="354108"/>
            <a:ext cx="84261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rgbClr val="660066"/>
                </a:solidFill>
                <a:latin typeface="Bahnschrift SemiBold" panose="020B0502040204020203" pitchFamily="34" charset="0"/>
                <a:cs typeface="Arial" panose="020B0604020202020204" pitchFamily="34" charset="0"/>
              </a:rPr>
              <a:t>FUNDING</a:t>
            </a:r>
          </a:p>
        </p:txBody>
      </p:sp>
    </p:spTree>
    <p:extLst>
      <p:ext uri="{BB962C8B-B14F-4D97-AF65-F5344CB8AC3E}">
        <p14:creationId xmlns:p14="http://schemas.microsoft.com/office/powerpoint/2010/main" val="38445917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7VSd6m10eRPqGWNzUSQw"/>
</p:tagLst>
</file>

<file path=ppt/theme/theme1.xml><?xml version="1.0" encoding="utf-8"?>
<a:theme xmlns:a="http://schemas.openxmlformats.org/drawingml/2006/main" name="Office Theme">
  <a:themeElements>
    <a:clrScheme name="Custom 2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660066"/>
      </a:accent1>
      <a:accent2>
        <a:srgbClr val="ED7D31"/>
      </a:accent2>
      <a:accent3>
        <a:srgbClr val="CC0000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368</TotalTime>
  <Words>288</Words>
  <Application>Microsoft Office PowerPoint</Application>
  <PresentationFormat>Widescreen</PresentationFormat>
  <Paragraphs>107</Paragraphs>
  <Slides>8</Slides>
  <Notes>8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Arial</vt:lpstr>
      <vt:lpstr>Arial Nova Light</vt:lpstr>
      <vt:lpstr>Bahnschrift Light</vt:lpstr>
      <vt:lpstr>Bahnschrift SemiBold</vt:lpstr>
      <vt:lpstr>Bebas Neue</vt:lpstr>
      <vt:lpstr>Calibri</vt:lpstr>
      <vt:lpstr>Calibri Light</vt:lpstr>
      <vt:lpstr>Franklin Gothic Demi</vt:lpstr>
      <vt:lpstr>Wingdings</vt:lpstr>
      <vt:lpstr>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vine, Caroline</dc:creator>
  <cp:lastModifiedBy>Jane Wilson</cp:lastModifiedBy>
  <cp:revision>105</cp:revision>
  <cp:lastPrinted>2019-02-25T10:44:46Z</cp:lastPrinted>
  <dcterms:created xsi:type="dcterms:W3CDTF">2017-03-19T22:26:46Z</dcterms:created>
  <dcterms:modified xsi:type="dcterms:W3CDTF">2020-08-27T17:28:25Z</dcterms:modified>
</cp:coreProperties>
</file>